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7" d="100"/>
          <a:sy n="37" d="100"/>
        </p:scale>
        <p:origin x="95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EABAB-0044-44C0-9FF5-0865CD1D3A57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8BB9C5-2330-45EE-A622-A32C668C231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7573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7460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94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4252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82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87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3842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59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2453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8.svg"/><Relationship Id="rId2" Type="http://schemas.openxmlformats.org/officeDocument/2006/relationships/tags" Target="../tags/tag5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8.xml"/><Relationship Id="rId15" Type="http://schemas.openxmlformats.org/officeDocument/2006/relationships/image" Target="../media/image6.svg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2" name="Freihandform: Form 46">
            <a:extLst>
              <a:ext uri="{FF2B5EF4-FFF2-40B4-BE49-F238E27FC236}">
                <a16:creationId xmlns:a16="http://schemas.microsoft.com/office/drawing/2014/main" id="{576610EC-EE66-9380-C19C-56B3927FD4C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615900" y="2423901"/>
            <a:ext cx="1000414" cy="2477991"/>
          </a:xfrm>
          <a:custGeom>
            <a:avLst/>
            <a:gdLst>
              <a:gd name="connsiteX0" fmla="*/ 500380 w 1000414"/>
              <a:gd name="connsiteY0" fmla="*/ 0 h 2477991"/>
              <a:gd name="connsiteX1" fmla="*/ 590993 w 1000414"/>
              <a:gd name="connsiteY1" fmla="*/ 99654 h 2477991"/>
              <a:gd name="connsiteX2" fmla="*/ 1000414 w 1000414"/>
              <a:gd name="connsiteY2" fmla="*/ 1239617 h 2477991"/>
              <a:gd name="connsiteX3" fmla="*/ 590993 w 1000414"/>
              <a:gd name="connsiteY3" fmla="*/ 2378397 h 2477991"/>
              <a:gd name="connsiteX4" fmla="*/ 500380 w 1000414"/>
              <a:gd name="connsiteY4" fmla="*/ 2477991 h 2477991"/>
              <a:gd name="connsiteX5" fmla="*/ 409714 w 1000414"/>
              <a:gd name="connsiteY5" fmla="*/ 2378397 h 2477991"/>
              <a:gd name="connsiteX6" fmla="*/ 0 w 1000414"/>
              <a:gd name="connsiteY6" fmla="*/ 1239617 h 2477991"/>
              <a:gd name="connsiteX7" fmla="*/ 409714 w 1000414"/>
              <a:gd name="connsiteY7" fmla="*/ 99654 h 2477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414" h="2477991">
                <a:moveTo>
                  <a:pt x="500380" y="0"/>
                </a:moveTo>
                <a:lnTo>
                  <a:pt x="590993" y="99654"/>
                </a:lnTo>
                <a:cubicBezTo>
                  <a:pt x="846752" y="409419"/>
                  <a:pt x="1000414" y="806563"/>
                  <a:pt x="1000414" y="1239617"/>
                </a:cubicBezTo>
                <a:cubicBezTo>
                  <a:pt x="1000414" y="1672042"/>
                  <a:pt x="846752" y="2068831"/>
                  <a:pt x="590993" y="2378397"/>
                </a:cubicBezTo>
                <a:lnTo>
                  <a:pt x="500380" y="2477991"/>
                </a:lnTo>
                <a:lnTo>
                  <a:pt x="409714" y="2378397"/>
                </a:lnTo>
                <a:cubicBezTo>
                  <a:pt x="153800" y="2068831"/>
                  <a:pt x="0" y="1672042"/>
                  <a:pt x="0" y="1239617"/>
                </a:cubicBezTo>
                <a:cubicBezTo>
                  <a:pt x="0" y="806563"/>
                  <a:pt x="153800" y="409419"/>
                  <a:pt x="409714" y="9965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eform 34">
            <a:extLst>
              <a:ext uri="{FF2B5EF4-FFF2-40B4-BE49-F238E27FC236}">
                <a16:creationId xmlns:a16="http://schemas.microsoft.com/office/drawing/2014/main" id="{D044BC63-01E9-A1C4-63FF-4E9E74CAFC4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030305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D4C5C740-C5E3-661C-2E1B-3A8AD148EE1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615900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TextBox 19">
            <a:extLst>
              <a:ext uri="{FF2B5EF4-FFF2-40B4-BE49-F238E27FC236}">
                <a16:creationId xmlns:a16="http://schemas.microsoft.com/office/drawing/2014/main" id="{4D5E35CF-FA58-CF82-7337-77BD0B759BB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3520" y="3925912"/>
            <a:ext cx="2412981" cy="20621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1_content}</a:t>
            </a:r>
          </a:p>
        </p:txBody>
      </p:sp>
      <p:sp>
        <p:nvSpPr>
          <p:cNvPr id="7" name="TextBox 20">
            <a:extLst>
              <a:ext uri="{FF2B5EF4-FFF2-40B4-BE49-F238E27FC236}">
                <a16:creationId xmlns:a16="http://schemas.microsoft.com/office/drawing/2014/main" id="{DECF3FC3-260F-5157-83AC-A9CD8EAC784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3520" y="2990033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1_description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B90EB082-AAC8-91D5-723F-2EFF1F5F3CF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396432" y="3925912"/>
            <a:ext cx="2412981" cy="20621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2_content}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46BCB03D-B062-24E9-4CEF-A48173C5A00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396432" y="2990033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te_2}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_description}</a:t>
            </a:r>
          </a:p>
        </p:txBody>
      </p:sp>
      <p:pic>
        <p:nvPicPr>
          <p:cNvPr id="12" name="Grafik 35">
            <a:extLst>
              <a:ext uri="{FF2B5EF4-FFF2-40B4-BE49-F238E27FC236}">
                <a16:creationId xmlns:a16="http://schemas.microsoft.com/office/drawing/2014/main" id="{E47FAB47-5217-CB59-1271-12CED65444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472896" y="3218934"/>
            <a:ext cx="888446" cy="888446"/>
          </a:xfrm>
          <a:prstGeom prst="rect">
            <a:avLst/>
          </a:prstGeom>
        </p:spPr>
      </p:pic>
      <p:pic>
        <p:nvPicPr>
          <p:cNvPr id="13" name="Grafik 36">
            <a:extLst>
              <a:ext uri="{FF2B5EF4-FFF2-40B4-BE49-F238E27FC236}">
                <a16:creationId xmlns:a16="http://schemas.microsoft.com/office/drawing/2014/main" id="{B7D2297F-BFD6-7738-469E-AA6E4F515BC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38240" y="3218934"/>
            <a:ext cx="888446" cy="888446"/>
          </a:xfrm>
          <a:prstGeom prst="rect">
            <a:avLst/>
          </a:prstGeom>
        </p:spPr>
      </p:pic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3A23680-182C-8617-E3A9-37015BBA2D4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7380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, icon, icons</a:t>
            </a:r>
          </a:p>
        </p:txBody>
      </p:sp>
    </p:spTree>
    <p:extLst>
      <p:ext uri="{BB962C8B-B14F-4D97-AF65-F5344CB8AC3E}">
        <p14:creationId xmlns:p14="http://schemas.microsoft.com/office/powerpoint/2010/main" val="330209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1</Words>
  <Application>Microsoft Office PowerPoint</Application>
  <PresentationFormat>宽屏</PresentationFormat>
  <Paragraphs>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Source Sans Pro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42:19Z</dcterms:created>
  <dcterms:modified xsi:type="dcterms:W3CDTF">2025-09-04T02:43:31Z</dcterms:modified>
</cp:coreProperties>
</file>